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4"/>
  </p:notesMasterIdLst>
  <p:handoutMasterIdLst>
    <p:handoutMasterId r:id="rId5"/>
  </p:handoutMasterIdLst>
  <p:sldIdLst>
    <p:sldId id="256" r:id="rId2"/>
    <p:sldId id="270" r:id="rId3"/>
  </p:sldIdLst>
  <p:sldSz cx="12192000" cy="6858000"/>
  <p:notesSz cx="7315200" cy="9601200"/>
  <p:custDataLst>
    <p:tags r:id="rId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F49F1F-A306-4373-9539-7C8624A0CA2B}" v="60" dt="2026-07-12T20:57:24.2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8" autoAdjust="0"/>
    <p:restoredTop sz="94660"/>
  </p:normalViewPr>
  <p:slideViewPr>
    <p:cSldViewPr snapToGrid="0">
      <p:cViewPr varScale="1">
        <p:scale>
          <a:sx n="61" d="100"/>
          <a:sy n="61" d="100"/>
        </p:scale>
        <p:origin x="76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7" d="100"/>
          <a:sy n="117" d="100"/>
        </p:scale>
        <p:origin x="2064" y="8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5" Type="http://schemas.openxmlformats.org/officeDocument/2006/relationships/handoutMaster" Target="handoutMasters/handoutMaster1.xml"/><Relationship Id="rId6" Type="http://schemas.openxmlformats.org/officeDocument/2006/relationships/tags" Target="tags/tag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1" Type="http://schemas.microsoft.com/office/2016/11/relationships/changesInfo" Target="changesInfos/changesInfo1.xml"/><Relationship Id="rId1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n Bleeker Pedersen" userId="34252400-a232-4440-8831-8cadcf57ce35" providerId="ADAL" clId="{5D18C0C2-102A-4970-B33C-1D15BE2F2270}"/>
    <pc:docChg chg="undo custSel delSld modSld modMainMaster">
      <pc:chgData name="Dann Bleeker Pedersen" userId="34252400-a232-4440-8831-8cadcf57ce35" providerId="ADAL" clId="{5D18C0C2-102A-4970-B33C-1D15BE2F2270}" dt="2026-07-12T20:57:24.298" v="96"/>
      <pc:docMkLst>
        <pc:docMk/>
      </pc:docMkLst>
      <pc:sldChg chg="modSp mod">
        <pc:chgData name="Dann Bleeker Pedersen" userId="34252400-a232-4440-8831-8cadcf57ce35" providerId="ADAL" clId="{5D18C0C2-102A-4970-B33C-1D15BE2F2270}" dt="2026-07-12T20:54:37.540" v="11" actId="948"/>
        <pc:sldMkLst>
          <pc:docMk/>
          <pc:sldMk cId="542153020" sldId="256"/>
        </pc:sldMkLst>
        <pc:spChg chg="mod">
          <ac:chgData name="Dann Bleeker Pedersen" userId="34252400-a232-4440-8831-8cadcf57ce35" providerId="ADAL" clId="{5D18C0C2-102A-4970-B33C-1D15BE2F2270}" dt="2026-07-12T20:54:37.540" v="11" actId="948"/>
          <ac:spMkLst>
            <pc:docMk/>
            <pc:sldMk cId="542153020" sldId="256"/>
            <ac:spMk id="5" creationId="{D4469AD6-8E34-4AA2-8874-827559293A16}"/>
          </ac:spMkLst>
        </pc:spChg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789458004" sldId="257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4789953" sldId="258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508005053" sldId="259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2464379589" sldId="260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2957924326" sldId="261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3526508447" sldId="262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658481650" sldId="263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3049224314" sldId="264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3423587264" sldId="265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3055279732" sldId="266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2292573742" sldId="267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2210815272" sldId="268"/>
        </pc:sldMkLst>
      </pc:sldChg>
      <pc:sldChg chg="del">
        <pc:chgData name="Dann Bleeker Pedersen" userId="34252400-a232-4440-8831-8cadcf57ce35" providerId="ADAL" clId="{5D18C0C2-102A-4970-B33C-1D15BE2F2270}" dt="2026-07-12T20:54:19.209" v="0" actId="47"/>
        <pc:sldMkLst>
          <pc:docMk/>
          <pc:sldMk cId="102622721" sldId="269"/>
        </pc:sldMkLst>
      </pc:sldChg>
      <pc:sldChg chg="addSp delSp modSp mod">
        <pc:chgData name="Dann Bleeker Pedersen" userId="34252400-a232-4440-8831-8cadcf57ce35" providerId="ADAL" clId="{5D18C0C2-102A-4970-B33C-1D15BE2F2270}" dt="2026-07-12T20:57:24.298" v="96"/>
        <pc:sldMkLst>
          <pc:docMk/>
          <pc:sldMk cId="3911101766" sldId="270"/>
        </pc:sldMkLst>
        <pc:spChg chg="add del mod">
          <ac:chgData name="Dann Bleeker Pedersen" userId="34252400-a232-4440-8831-8cadcf57ce35" providerId="ADAL" clId="{5D18C0C2-102A-4970-B33C-1D15BE2F2270}" dt="2026-07-12T20:54:51.820" v="33" actId="478"/>
          <ac:spMkLst>
            <pc:docMk/>
            <pc:sldMk cId="3911101766" sldId="270"/>
            <ac:spMk id="3" creationId="{A71B1D4B-AC9D-EF75-486E-56955083BAA9}"/>
          </ac:spMkLst>
        </pc:spChg>
        <pc:spChg chg="mod">
          <ac:chgData name="Dann Bleeker Pedersen" userId="34252400-a232-4440-8831-8cadcf57ce35" providerId="ADAL" clId="{5D18C0C2-102A-4970-B33C-1D15BE2F2270}" dt="2026-07-12T20:54:48.655" v="18" actId="299"/>
          <ac:spMkLst>
            <pc:docMk/>
            <pc:sldMk cId="3911101766" sldId="270"/>
            <ac:spMk id="5" creationId="{1490C048-47DC-4258-9E55-DE154F176179}"/>
          </ac:spMkLst>
        </pc:spChg>
        <pc:spChg chg="del">
          <ac:chgData name="Dann Bleeker Pedersen" userId="34252400-a232-4440-8831-8cadcf57ce35" providerId="ADAL" clId="{5D18C0C2-102A-4970-B33C-1D15BE2F2270}" dt="2026-07-12T20:54:43.738" v="14" actId="478"/>
          <ac:spMkLst>
            <pc:docMk/>
            <pc:sldMk cId="3911101766" sldId="270"/>
            <ac:spMk id="6" creationId="{C28B1DC5-F9E4-4A7E-A88F-9F436822DB2C}"/>
          </ac:spMkLst>
        </pc:spChg>
        <pc:graphicFrameChg chg="add mod ord modVis">
          <ac:chgData name="Dann Bleeker Pedersen" userId="34252400-a232-4440-8831-8cadcf57ce35" providerId="ADAL" clId="{5D18C0C2-102A-4970-B33C-1D15BE2F2270}" dt="2026-07-12T20:54:48.701" v="32"/>
          <ac:graphicFrameMkLst>
            <pc:docMk/>
            <pc:sldMk cId="3911101766" sldId="270"/>
            <ac:graphicFrameMk id="7" creationId="{0B323F80-BAD0-3ADF-F79E-DD0CCE74EF9F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2T20:57:24.298" v="96"/>
          <ac:graphicFrameMkLst>
            <pc:docMk/>
            <pc:sldMk cId="3911101766" sldId="270"/>
            <ac:graphicFrameMk id="8" creationId="{691B8628-573F-4D6C-6ACC-35CDF207A4C8}"/>
          </ac:graphicFrameMkLst>
        </pc:graphicFrameChg>
      </pc:sldChg>
      <pc:sldChg chg="del">
        <pc:chgData name="Dann Bleeker Pedersen" userId="34252400-a232-4440-8831-8cadcf57ce35" providerId="ADAL" clId="{5D18C0C2-102A-4970-B33C-1D15BE2F2270}" dt="2026-07-12T20:54:21.461" v="2" actId="47"/>
        <pc:sldMkLst>
          <pc:docMk/>
          <pc:sldMk cId="326294691" sldId="271"/>
        </pc:sldMkLst>
      </pc:sldChg>
      <pc:sldChg chg="del">
        <pc:chgData name="Dann Bleeker Pedersen" userId="34252400-a232-4440-8831-8cadcf57ce35" providerId="ADAL" clId="{5D18C0C2-102A-4970-B33C-1D15BE2F2270}" dt="2026-07-12T20:54:21.071" v="1" actId="47"/>
        <pc:sldMkLst>
          <pc:docMk/>
          <pc:sldMk cId="2121105493" sldId="272"/>
        </pc:sldMkLst>
      </pc:sldChg>
      <pc:sldMasterChg chg="modSp mod">
        <pc:chgData name="Dann Bleeker Pedersen" userId="34252400-a232-4440-8831-8cadcf57ce35" providerId="ADAL" clId="{5D18C0C2-102A-4970-B33C-1D15BE2F2270}" dt="2026-07-12T20:54:37.544" v="13"/>
        <pc:sldMasterMkLst>
          <pc:docMk/>
          <pc:sldMasterMk cId="4193522406" sldId="2147483672"/>
        </pc:sldMasterMkLst>
        <pc:spChg chg="mod">
          <ac:chgData name="Dann Bleeker Pedersen" userId="34252400-a232-4440-8831-8cadcf57ce35" providerId="ADAL" clId="{5D18C0C2-102A-4970-B33C-1D15BE2F2270}" dt="2026-07-12T20:54:37.526" v="6" actId="299"/>
          <ac:spMkLst>
            <pc:docMk/>
            <pc:sldMasterMk cId="4193522406" sldId="2147483672"/>
            <ac:spMk id="2" creationId="{00000000-0000-0000-0000-000000000000}"/>
          </ac:spMkLst>
        </pc:spChg>
        <pc:graphicFrameChg chg="mod">
          <ac:chgData name="Dann Bleeker Pedersen" userId="34252400-a232-4440-8831-8cadcf57ce35" providerId="ADAL" clId="{5D18C0C2-102A-4970-B33C-1D15BE2F2270}" dt="2026-07-12T20:54:37.544" v="13"/>
          <ac:graphicFrameMkLst>
            <pc:docMk/>
            <pc:sldMasterMk cId="4193522406" sldId="2147483672"/>
            <ac:graphicFrameMk id="4" creationId="{A02C86C9-571B-405E-B4E7-76EC4DF9E845}"/>
          </ac:graphicFrameMkLst>
        </pc:graphicFrameChg>
      </pc:sldMaster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382CA3-B560-47CD-BD48-FD4E0CDC82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6" name="ButtomBox">
            <a:extLst>
              <a:ext uri="{FF2B5EF4-FFF2-40B4-BE49-F238E27FC236}">
                <a16:creationId xmlns:a16="http://schemas.microsoft.com/office/drawing/2014/main" id="{20C3E9AD-F95D-4473-9224-8E95F8E16FDE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61B3A22-D2E3-4FF5-9BC6-8836E60A3E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pPr algn="ctr"/>
            <a:fld id="{8BBE9EC4-8F44-4CF0-8A4B-61B019A15D23}" type="datetime2">
              <a:rPr lang="da-DK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16FE313-A64B-45DA-93DD-8853BE49D3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20031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601436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731520" y="3961233"/>
            <a:ext cx="5852160" cy="5128338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8" name="ButtomBox">
            <a:extLst>
              <a:ext uri="{FF2B5EF4-FFF2-40B4-BE49-F238E27FC236}">
                <a16:creationId xmlns:a16="http://schemas.microsoft.com/office/drawing/2014/main" id="{21F0A814-4AFB-440A-ADE7-8DA651D80146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2013BECE-8686-4CF2-9CF7-BEDFA13EA131}"/>
              </a:ext>
            </a:extLst>
          </p:cNvPr>
          <p:cNvSpPr txBox="1">
            <a:spLocks/>
          </p:cNvSpPr>
          <p:nvPr/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defPPr>
              <a:defRPr lang="da-DK"/>
            </a:defPPr>
            <a:lvl1pPr marL="0" algn="r" defTabSz="914400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BBE9EC4-8F44-4CF0-8A4B-61B019A15D23}" type="datetime2">
              <a:rPr lang="da-DK" sz="80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12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50959-0822-4B85-A9C9-0D67932E7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25017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17938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358775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538163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71913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/>
          <a:lstStyle/>
          <a:p>
            <a:fld id="{7AF83CC3-55FA-48C5-A62B-7CCA4DCD15F3}" type="slidenum">
              <a:rPr lang="da-DK" smtClean="0"/>
              <a:t>1</a:t>
            </a:fld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A38A97-1FBF-4B12-9FE6-3C6F44F5D2F5}"/>
              </a:ext>
            </a:extLst>
          </p:cNvPr>
          <p:cNvSpPr>
            <a:spLocks noGrp="1"/>
          </p:cNvSpPr>
          <p:nvPr>
            <p:ph type="dt" idx="1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/>
          <a:lstStyle/>
          <a:p>
            <a:fld id="{4F45CBB0-A475-4DA6-A327-E9FE87BB0949}" type="datetime2">
              <a:rPr lang="da-DK" smtClean="0"/>
              <a:t>12. juli 20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4418344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 Style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10318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tags" Target="../tags/tag2.xml"/><Relationship Id="rId11" Type="http://schemas.openxmlformats.org/officeDocument/2006/relationships/oleObject" Target="../embeddings/oleObject1.bin"/><Relationship Id="rId1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18167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9" imgH="409" progId="TCLayout.ActiveDocument.1">
                  <p:embed/>
                </p:oleObj>
              </mc:Choice>
              <mc:Fallback>
                <p:oleObj name="think-cell Slide" r:id="rId11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6" r:id="rId3"/>
    <p:sldLayoutId id="2147483677" r:id="rId4"/>
    <p:sldLayoutId id="2147483674" r:id="rId5"/>
    <p:sldLayoutId id="2147483678" r:id="rId6"/>
    <p:sldLayoutId id="2147483679" r:id="rId7"/>
    <p:sldLayoutId id="2147483680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366485-B60E-424B-A5E8-D8D1745B033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581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9" imgH="409" progId="TCLayout.ActiveDocument.1">
                  <p:embed/>
                </p:oleObj>
              </mc:Choice>
              <mc:Fallback>
                <p:oleObj name="think-cell Slide" r:id="rId4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366485-B60E-424B-A5E8-D8D1745B0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A0F8534B-CCA8-4A2C-9A0E-A0613E6956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469AD6-8E34-4AA2-8874-827559293A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en-US" dirty="0"/>
              <a:t>Team Meeting Structure</a:t>
            </a:r>
          </a:p>
        </p:txBody>
      </p:sp>
    </p:spTree>
    <p:extLst>
      <p:ext uri="{BB962C8B-B14F-4D97-AF65-F5344CB8AC3E}">
        <p14:creationId xmlns:p14="http://schemas.microsoft.com/office/powerpoint/2010/main" val="542153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323F80-BAD0-3ADF-F79E-DD0CCE74EF9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67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323F80-BAD0-3ADF-F79E-DD0CCE74E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490C048-47DC-4258-9E55-DE154F176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Team Meeting 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6DEF94-7A96-4126-A435-F365B39CF6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2</a:t>
            </a:fld>
            <a:endParaRPr lang="da-DK" dirty="0"/>
          </a:p>
        </p:txBody>
      </p:sp>
      <p:graphicFrame>
        <p:nvGraphicFramePr>
          <p:cNvPr id="8" name="Pladsholder til indhold 17">
            <a:extLst>
              <a:ext uri="{FF2B5EF4-FFF2-40B4-BE49-F238E27FC236}">
                <a16:creationId xmlns:a16="http://schemas.microsoft.com/office/drawing/2014/main" id="{691B8628-573F-4D6C-6ACC-35CDF207A4C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2607756"/>
              </p:ext>
            </p:extLst>
          </p:nvPr>
        </p:nvGraphicFramePr>
        <p:xfrm>
          <a:off x="848953" y="1214148"/>
          <a:ext cx="10188000" cy="5004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Meeting</a:t>
                      </a:r>
                    </a:p>
                  </a:txBody>
                  <a:tcPr anchor="b"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1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What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1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Length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1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Whe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1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Frequency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1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Who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1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Georgia" panose="02040502050405020303" pitchFamily="18" charset="0"/>
                        </a:rPr>
                        <a:t>How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One-on-one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Task status and priorities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Individual development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Wellbeing check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baseline="0" noProof="0" dirty="0">
                          <a:latin typeface="Georgia" panose="02040502050405020303" pitchFamily="18" charset="0"/>
                        </a:rPr>
                        <a:t>30–45 min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ixed weekda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Weekly / bi-weekl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Manager</a:t>
                      </a:r>
                    </a:p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Team member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ace to face or video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Team meeting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Management info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Team updates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Topic deep-dives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Ad-hoc item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45–60 min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ixed weekda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Weekl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Whole team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ace to face + video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Social / off-site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Build team spirit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Can be combined with another meeting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½–1 da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Varie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2–3 times a year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Whole team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ace to face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en-US" sz="10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Work session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Joint problem-solving on a chosen topic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Topic chosen well in advance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1–2 hour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Varie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Monthl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Whole team (voluntary)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ace to face / workshop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Team health check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Status and next steps on team satisfaction and wellbeing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1–2 hour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Varie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Every 6 month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eorgia" panose="02040502050405020303" pitchFamily="18" charset="0"/>
                        </a:rPr>
                        <a:t>Whole team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acilitated workshop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Development dialogue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Feedback on performance</a:t>
                      </a:r>
                    </a:p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Personal development plan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1–2 hour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Varie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Every 6–12 month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Manager</a:t>
                      </a:r>
                    </a:p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Team member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1:1, face to face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 anchor="ctr"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Salary / contract review</a:t>
                      </a:r>
                    </a:p>
                  </a:txBody>
                  <a:tcPr marL="54000" marR="54000" marT="0" marB="0" anchor="ctr"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Evaluation and formal review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~30 min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Varies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Yearly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Manager</a:t>
                      </a:r>
                    </a:p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Team member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en-US" sz="1000" kern="120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>
                          <a:latin typeface="Georgia" panose="02040502050405020303" pitchFamily="18" charset="0"/>
                        </a:rPr>
                        <a:t>1:1, face to face</a:t>
                      </a:r>
                    </a:p>
                  </a:txBody>
                  <a:tcPr marL="54000" marR="54000" marT="0" marB="0">
                    <a:lnL>
                      <a:noFill/>
                    </a:lnL>
                    <a:lnR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noProof="0" dirty="0">
                        <a:latin typeface="Georgia" panose="02040502050405020303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54000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kern="1200" baseline="0" noProof="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370840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latin typeface="Georgia" panose="02040502050405020303" pitchFamily="18" charset="0"/>
                      </a:endParaRPr>
                    </a:p>
                  </a:txBody>
                  <a:tcPr marL="36000" marR="3600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1101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TableOfContents TableOfContentsShowsSubsections AgendaSlides SectionNumber 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ruktureretSundFornuft</Template>
  <TotalTime>217</TotalTime>
  <Words>210</Words>
  <Application>Microsoft Office PowerPoint</Application>
  <PresentationFormat>Widescreen</PresentationFormat>
  <Paragraphs>7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Georgia</vt:lpstr>
      <vt:lpstr>Verdana</vt:lpstr>
      <vt:lpstr>struktureretsundfornuft-dk</vt:lpstr>
      <vt:lpstr>think-cell Slide</vt:lpstr>
      <vt:lpstr>Team Meeting Structure</vt:lpstr>
      <vt:lpstr>Team Meeting Struc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y GTD System</dc:title>
  <dc:creator>Dann Bleeker Pedersen</dc:creator>
  <cp:lastModifiedBy>Dann Bleeker Pedersen</cp:lastModifiedBy>
  <cp:revision>6</cp:revision>
  <dcterms:created xsi:type="dcterms:W3CDTF">2021-03-27T09:36:08Z</dcterms:created>
  <dcterms:modified xsi:type="dcterms:W3CDTF">2026-07-12T20:57:24Z</dcterms:modified>
</cp:coreProperties>
</file>